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4"/>
  </p:notesMasterIdLst>
  <p:handoutMasterIdLst>
    <p:handoutMasterId r:id="rId15"/>
  </p:handoutMasterIdLst>
  <p:sldIdLst>
    <p:sldId id="1277" r:id="rId3"/>
    <p:sldId id="1293" r:id="rId4"/>
    <p:sldId id="1294" r:id="rId5"/>
    <p:sldId id="1296" r:id="rId6"/>
    <p:sldId id="1372" r:id="rId7"/>
    <p:sldId id="1371" r:id="rId8"/>
    <p:sldId id="1373" r:id="rId9"/>
    <p:sldId id="1343" r:id="rId10"/>
    <p:sldId id="1344" r:id="rId11"/>
    <p:sldId id="1345" r:id="rId12"/>
    <p:sldId id="1346" r:id="rId1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72"/>
            <p14:sldId id="1371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864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515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20</a:t>
            </a:r>
            <a:r>
              <a:rPr lang="cs-CZ" b="1" dirty="0" smtClean="0"/>
              <a:t>. </a:t>
            </a:r>
            <a:r>
              <a:rPr lang="cs-CZ" b="1" dirty="0" smtClean="0"/>
              <a:t>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8781111"/>
              </p:ext>
            </p:extLst>
          </p:nvPr>
        </p:nvGraphicFramePr>
        <p:xfrm>
          <a:off x="350228" y="708347"/>
          <a:ext cx="11519385" cy="586334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40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7473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494973"/>
              </p:ext>
            </p:extLst>
          </p:nvPr>
        </p:nvGraphicFramePr>
        <p:xfrm>
          <a:off x="372867" y="838718"/>
          <a:ext cx="11435203" cy="5212442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nace počtu C19 hospitalizovaných na standardních odděleních i v intenzivní péči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éči se daří zajistit za cenu omezení elektivní péče i výpomoci AČR/HZS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JIPy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á.</a:t>
                      </a:r>
                    </a:p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inemocniční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ransporty v rámci kraje.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akt. “stabilizovaná“ – snížil se počet nově přijímaných COVID pacientů. 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IP problém s velkým počtem post-COVID pacientů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20</a:t>
            </a:r>
            <a:r>
              <a:rPr lang="cs-CZ" b="1" dirty="0" smtClean="0"/>
              <a:t>.12.2021 </a:t>
            </a:r>
            <a:r>
              <a:rPr lang="cs-CZ" b="1" dirty="0" smtClean="0"/>
              <a:t>00:25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789</a:t>
            </a:r>
            <a:endParaRPr lang="cs-CZ" b="1" dirty="0" smtClean="0"/>
          </a:p>
          <a:p>
            <a:pPr algn="ctr"/>
            <a:endParaRPr lang="cs-CZ" sz="2000" b="1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7596760"/>
              </p:ext>
            </p:extLst>
          </p:nvPr>
        </p:nvGraphicFramePr>
        <p:xfrm>
          <a:off x="332819" y="1025238"/>
          <a:ext cx="8335702" cy="5179297"/>
        </p:xfrm>
        <a:graphic>
          <a:graphicData uri="http://schemas.openxmlformats.org/drawingml/2006/table">
            <a:tbl>
              <a:tblPr/>
              <a:tblGrid>
                <a:gridCol w="2220697">
                  <a:extLst>
                    <a:ext uri="{9D8B030D-6E8A-4147-A177-3AD203B41FA5}">
                      <a16:colId xmlns:a16="http://schemas.microsoft.com/office/drawing/2014/main" val="2090169037"/>
                    </a:ext>
                  </a:extLst>
                </a:gridCol>
                <a:gridCol w="1264769">
                  <a:extLst>
                    <a:ext uri="{9D8B030D-6E8A-4147-A177-3AD203B41FA5}">
                      <a16:colId xmlns:a16="http://schemas.microsoft.com/office/drawing/2014/main" val="1723865565"/>
                    </a:ext>
                  </a:extLst>
                </a:gridCol>
                <a:gridCol w="1250061">
                  <a:extLst>
                    <a:ext uri="{9D8B030D-6E8A-4147-A177-3AD203B41FA5}">
                      <a16:colId xmlns:a16="http://schemas.microsoft.com/office/drawing/2014/main" val="3562158567"/>
                    </a:ext>
                  </a:extLst>
                </a:gridCol>
                <a:gridCol w="1250061">
                  <a:extLst>
                    <a:ext uri="{9D8B030D-6E8A-4147-A177-3AD203B41FA5}">
                      <a16:colId xmlns:a16="http://schemas.microsoft.com/office/drawing/2014/main" val="1171906836"/>
                    </a:ext>
                  </a:extLst>
                </a:gridCol>
                <a:gridCol w="1308887">
                  <a:extLst>
                    <a:ext uri="{9D8B030D-6E8A-4147-A177-3AD203B41FA5}">
                      <a16:colId xmlns:a16="http://schemas.microsoft.com/office/drawing/2014/main" val="3039042706"/>
                    </a:ext>
                  </a:extLst>
                </a:gridCol>
                <a:gridCol w="1041227">
                  <a:extLst>
                    <a:ext uri="{9D8B030D-6E8A-4147-A177-3AD203B41FA5}">
                      <a16:colId xmlns:a16="http://schemas.microsoft.com/office/drawing/2014/main" val="746115581"/>
                    </a:ext>
                  </a:extLst>
                </a:gridCol>
              </a:tblGrid>
              <a:tr h="218011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7435282"/>
                  </a:ext>
                </a:extLst>
              </a:tr>
              <a:tr h="218011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1, 11:30 h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3223091"/>
                  </a:ext>
                </a:extLst>
              </a:tr>
              <a:tr h="186427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5371371"/>
                  </a:ext>
                </a:extLst>
              </a:tr>
              <a:tr h="19309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2977953"/>
                  </a:ext>
                </a:extLst>
              </a:tr>
              <a:tr h="75369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6907930"/>
                  </a:ext>
                </a:extLst>
              </a:tr>
              <a:tr h="1868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677890"/>
                  </a:ext>
                </a:extLst>
              </a:tr>
              <a:tr h="1868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7029270"/>
                  </a:ext>
                </a:extLst>
              </a:tr>
              <a:tr h="1868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6609224"/>
                  </a:ext>
                </a:extLst>
              </a:tr>
              <a:tr h="1868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4706329"/>
                  </a:ext>
                </a:extLst>
              </a:tr>
              <a:tr h="1946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1276803"/>
                  </a:ext>
                </a:extLst>
              </a:tr>
              <a:tr h="1868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2010354"/>
                  </a:ext>
                </a:extLst>
              </a:tr>
              <a:tr h="1868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6193976"/>
                  </a:ext>
                </a:extLst>
              </a:tr>
              <a:tr h="1868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937012"/>
                  </a:ext>
                </a:extLst>
              </a:tr>
              <a:tr h="1868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611015"/>
                  </a:ext>
                </a:extLst>
              </a:tr>
              <a:tr h="1868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176167"/>
                  </a:ext>
                </a:extLst>
              </a:tr>
              <a:tr h="1868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722949"/>
                  </a:ext>
                </a:extLst>
              </a:tr>
              <a:tr h="1868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017434"/>
                  </a:ext>
                </a:extLst>
              </a:tr>
              <a:tr h="1868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714489"/>
                  </a:ext>
                </a:extLst>
              </a:tr>
              <a:tr h="2102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146942"/>
                  </a:ext>
                </a:extLst>
              </a:tr>
              <a:tr h="1930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7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0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3108835"/>
                  </a:ext>
                </a:extLst>
              </a:tr>
              <a:tr h="186866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2184141"/>
                  </a:ext>
                </a:extLst>
              </a:tr>
              <a:tr h="186427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770025"/>
                  </a:ext>
                </a:extLst>
              </a:tr>
              <a:tr h="18686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5607513"/>
                  </a:ext>
                </a:extLst>
              </a:tr>
              <a:tr h="18686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x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360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2739729"/>
              </p:ext>
            </p:extLst>
          </p:nvPr>
        </p:nvGraphicFramePr>
        <p:xfrm>
          <a:off x="332818" y="997525"/>
          <a:ext cx="10104272" cy="5188368"/>
        </p:xfrm>
        <a:graphic>
          <a:graphicData uri="http://schemas.openxmlformats.org/drawingml/2006/table">
            <a:tbl>
              <a:tblPr/>
              <a:tblGrid>
                <a:gridCol w="2218299">
                  <a:extLst>
                    <a:ext uri="{9D8B030D-6E8A-4147-A177-3AD203B41FA5}">
                      <a16:colId xmlns:a16="http://schemas.microsoft.com/office/drawing/2014/main" val="197581062"/>
                    </a:ext>
                  </a:extLst>
                </a:gridCol>
                <a:gridCol w="1263401">
                  <a:extLst>
                    <a:ext uri="{9D8B030D-6E8A-4147-A177-3AD203B41FA5}">
                      <a16:colId xmlns:a16="http://schemas.microsoft.com/office/drawing/2014/main" val="3978482270"/>
                    </a:ext>
                  </a:extLst>
                </a:gridCol>
                <a:gridCol w="1248711">
                  <a:extLst>
                    <a:ext uri="{9D8B030D-6E8A-4147-A177-3AD203B41FA5}">
                      <a16:colId xmlns:a16="http://schemas.microsoft.com/office/drawing/2014/main" val="1126975870"/>
                    </a:ext>
                  </a:extLst>
                </a:gridCol>
                <a:gridCol w="1248711">
                  <a:extLst>
                    <a:ext uri="{9D8B030D-6E8A-4147-A177-3AD203B41FA5}">
                      <a16:colId xmlns:a16="http://schemas.microsoft.com/office/drawing/2014/main" val="795900385"/>
                    </a:ext>
                  </a:extLst>
                </a:gridCol>
                <a:gridCol w="1307472">
                  <a:extLst>
                    <a:ext uri="{9D8B030D-6E8A-4147-A177-3AD203B41FA5}">
                      <a16:colId xmlns:a16="http://schemas.microsoft.com/office/drawing/2014/main" val="3604207284"/>
                    </a:ext>
                  </a:extLst>
                </a:gridCol>
                <a:gridCol w="1040102">
                  <a:extLst>
                    <a:ext uri="{9D8B030D-6E8A-4147-A177-3AD203B41FA5}">
                      <a16:colId xmlns:a16="http://schemas.microsoft.com/office/drawing/2014/main" val="518153087"/>
                    </a:ext>
                  </a:extLst>
                </a:gridCol>
                <a:gridCol w="1777576">
                  <a:extLst>
                    <a:ext uri="{9D8B030D-6E8A-4147-A177-3AD203B41FA5}">
                      <a16:colId xmlns:a16="http://schemas.microsoft.com/office/drawing/2014/main" val="2103747286"/>
                    </a:ext>
                  </a:extLst>
                </a:gridCol>
              </a:tblGrid>
              <a:tr h="20731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7478694"/>
                  </a:ext>
                </a:extLst>
              </a:tr>
              <a:tr h="219885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1, 11:30 h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3236118"/>
                  </a:ext>
                </a:extLst>
              </a:tr>
              <a:tr h="187370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972482"/>
                  </a:ext>
                </a:extLst>
              </a:tr>
              <a:tr h="19475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2947559"/>
                  </a:ext>
                </a:extLst>
              </a:tr>
              <a:tr h="76017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1985316"/>
                  </a:ext>
                </a:extLst>
              </a:tr>
              <a:tr h="1884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2944567"/>
                  </a:ext>
                </a:extLst>
              </a:tr>
              <a:tr h="1884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2958399"/>
                  </a:ext>
                </a:extLst>
              </a:tr>
              <a:tr h="1884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0922253"/>
                  </a:ext>
                </a:extLst>
              </a:tr>
              <a:tr h="1884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5940336"/>
                  </a:ext>
                </a:extLst>
              </a:tr>
              <a:tr h="1884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9077760"/>
                  </a:ext>
                </a:extLst>
              </a:tr>
              <a:tr h="1884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6071191"/>
                  </a:ext>
                </a:extLst>
              </a:tr>
              <a:tr h="1884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0733215"/>
                  </a:ext>
                </a:extLst>
              </a:tr>
              <a:tr h="1963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0700236"/>
                  </a:ext>
                </a:extLst>
              </a:tr>
              <a:tr h="1884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2772983"/>
                  </a:ext>
                </a:extLst>
              </a:tr>
              <a:tr h="1884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7842615"/>
                  </a:ext>
                </a:extLst>
              </a:tr>
              <a:tr h="1884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5756127"/>
                  </a:ext>
                </a:extLst>
              </a:tr>
              <a:tr h="1884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8566887"/>
                  </a:ext>
                </a:extLst>
              </a:tr>
              <a:tr h="1884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9057925"/>
                  </a:ext>
                </a:extLst>
              </a:tr>
              <a:tr h="19475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9637086"/>
                  </a:ext>
                </a:extLst>
              </a:tr>
              <a:tr h="21203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0227677"/>
                  </a:ext>
                </a:extLst>
              </a:tr>
              <a:tr h="18847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8875649"/>
                  </a:ext>
                </a:extLst>
              </a:tr>
              <a:tr h="187370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5498005"/>
                  </a:ext>
                </a:extLst>
              </a:tr>
              <a:tr h="18737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979989"/>
                  </a:ext>
                </a:extLst>
              </a:tr>
              <a:tr h="18847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x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76449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20</a:t>
            </a:r>
            <a:r>
              <a:rPr lang="cs-CZ" b="1" dirty="0" smtClean="0"/>
              <a:t>.12.2021 </a:t>
            </a:r>
            <a:r>
              <a:rPr lang="cs-CZ" b="1" dirty="0" smtClean="0"/>
              <a:t>00:25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4</a:t>
            </a:r>
            <a:r>
              <a:rPr lang="cs-CZ" sz="2000" b="1" dirty="0"/>
              <a:t> </a:t>
            </a:r>
            <a:r>
              <a:rPr lang="cs-CZ" sz="2000" b="1" dirty="0" smtClean="0"/>
              <a:t>546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658157"/>
              </p:ext>
            </p:extLst>
          </p:nvPr>
        </p:nvGraphicFramePr>
        <p:xfrm>
          <a:off x="332817" y="1016006"/>
          <a:ext cx="8867830" cy="5366320"/>
        </p:xfrm>
        <a:graphic>
          <a:graphicData uri="http://schemas.openxmlformats.org/drawingml/2006/table">
            <a:tbl>
              <a:tblPr/>
              <a:tblGrid>
                <a:gridCol w="1876460">
                  <a:extLst>
                    <a:ext uri="{9D8B030D-6E8A-4147-A177-3AD203B41FA5}">
                      <a16:colId xmlns:a16="http://schemas.microsoft.com/office/drawing/2014/main" val="1547149936"/>
                    </a:ext>
                  </a:extLst>
                </a:gridCol>
                <a:gridCol w="1068712">
                  <a:extLst>
                    <a:ext uri="{9D8B030D-6E8A-4147-A177-3AD203B41FA5}">
                      <a16:colId xmlns:a16="http://schemas.microsoft.com/office/drawing/2014/main" val="2126787700"/>
                    </a:ext>
                  </a:extLst>
                </a:gridCol>
                <a:gridCol w="1056286">
                  <a:extLst>
                    <a:ext uri="{9D8B030D-6E8A-4147-A177-3AD203B41FA5}">
                      <a16:colId xmlns:a16="http://schemas.microsoft.com/office/drawing/2014/main" val="4201564821"/>
                    </a:ext>
                  </a:extLst>
                </a:gridCol>
                <a:gridCol w="1056286">
                  <a:extLst>
                    <a:ext uri="{9D8B030D-6E8A-4147-A177-3AD203B41FA5}">
                      <a16:colId xmlns:a16="http://schemas.microsoft.com/office/drawing/2014/main" val="3779247312"/>
                    </a:ext>
                  </a:extLst>
                </a:gridCol>
                <a:gridCol w="1105994">
                  <a:extLst>
                    <a:ext uri="{9D8B030D-6E8A-4147-A177-3AD203B41FA5}">
                      <a16:colId xmlns:a16="http://schemas.microsoft.com/office/drawing/2014/main" val="4080907897"/>
                    </a:ext>
                  </a:extLst>
                </a:gridCol>
                <a:gridCol w="1503654">
                  <a:extLst>
                    <a:ext uri="{9D8B030D-6E8A-4147-A177-3AD203B41FA5}">
                      <a16:colId xmlns:a16="http://schemas.microsoft.com/office/drawing/2014/main" val="1215005146"/>
                    </a:ext>
                  </a:extLst>
                </a:gridCol>
                <a:gridCol w="1200438">
                  <a:extLst>
                    <a:ext uri="{9D8B030D-6E8A-4147-A177-3AD203B41FA5}">
                      <a16:colId xmlns:a16="http://schemas.microsoft.com/office/drawing/2014/main" val="2072205481"/>
                    </a:ext>
                  </a:extLst>
                </a:gridCol>
              </a:tblGrid>
              <a:tr h="22556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539518"/>
                  </a:ext>
                </a:extLst>
              </a:tr>
              <a:tr h="22556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1, 11:30 h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116927"/>
                  </a:ext>
                </a:extLst>
              </a:tr>
              <a:tr h="19450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1108827"/>
                  </a:ext>
                </a:extLst>
              </a:tr>
              <a:tr h="22556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8829778"/>
                  </a:ext>
                </a:extLst>
              </a:tr>
              <a:tr h="58646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2599224"/>
                  </a:ext>
                </a:extLst>
              </a:tr>
              <a:tr h="1945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4707842"/>
                  </a:ext>
                </a:extLst>
              </a:tr>
              <a:tr h="1945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945713"/>
                  </a:ext>
                </a:extLst>
              </a:tr>
              <a:tr h="1945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905784"/>
                  </a:ext>
                </a:extLst>
              </a:tr>
              <a:tr h="1945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317548"/>
                  </a:ext>
                </a:extLst>
              </a:tr>
              <a:tr h="1945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27700"/>
                  </a:ext>
                </a:extLst>
              </a:tr>
              <a:tr h="1945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894756"/>
                  </a:ext>
                </a:extLst>
              </a:tr>
              <a:tr h="1945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3398525"/>
                  </a:ext>
                </a:extLst>
              </a:tr>
              <a:tr h="1945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681046"/>
                  </a:ext>
                </a:extLst>
              </a:tr>
              <a:tr h="1945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080953"/>
                  </a:ext>
                </a:extLst>
              </a:tr>
              <a:tr h="1945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443643"/>
                  </a:ext>
                </a:extLst>
              </a:tr>
              <a:tr h="1945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4978376"/>
                  </a:ext>
                </a:extLst>
              </a:tr>
              <a:tr h="1945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8564832"/>
                  </a:ext>
                </a:extLst>
              </a:tr>
              <a:tr h="1945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447500"/>
                  </a:ext>
                </a:extLst>
              </a:tr>
              <a:tr h="19978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406328"/>
                  </a:ext>
                </a:extLst>
              </a:tr>
              <a:tr h="21750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69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3301195"/>
                  </a:ext>
                </a:extLst>
              </a:tr>
              <a:tr h="194509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0272126"/>
                  </a:ext>
                </a:extLst>
              </a:tr>
              <a:tr h="194509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1870437"/>
                  </a:ext>
                </a:extLst>
              </a:tr>
              <a:tr h="37921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4386106"/>
                  </a:ext>
                </a:extLst>
              </a:tr>
              <a:tr h="19450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x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30041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12.2021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:0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a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989589"/>
              </p:ext>
            </p:extLst>
          </p:nvPr>
        </p:nvGraphicFramePr>
        <p:xfrm>
          <a:off x="1315360" y="2032535"/>
          <a:ext cx="5972946" cy="1720210"/>
        </p:xfrm>
        <a:graphic>
          <a:graphicData uri="http://schemas.openxmlformats.org/drawingml/2006/table">
            <a:tbl>
              <a:tblPr/>
              <a:tblGrid>
                <a:gridCol w="3727065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20131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625750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318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</a:t>
                      </a:r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aný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.s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 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:5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</a:t>
                      </a:r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utná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Hora </a:t>
                      </a:r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.s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 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:5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České Budějovice</a:t>
                      </a:r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2.2021 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:5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odská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2.2021 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2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19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9169656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20.12.2021 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00:25 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 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4 568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926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51,0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789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20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3,2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541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68,6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1443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38,2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779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63 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6,7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926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51,0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653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2839917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cs-CZ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637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,1 </a:t>
                      </a:r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7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87313" y="3263615"/>
            <a:ext cx="10568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Za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19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.12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. bylo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154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nově přijatých pac. a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77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propuštěných.</a:t>
            </a:r>
            <a:endParaRPr lang="cs-CZ" dirty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KKIP – bez požadavků na mezikrajové překlady. Situace v krajích neměnná (omezený personál, zastavená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), ale dochází k mírnému zlepšení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606585"/>
            <a:ext cx="525489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é kapacity JIP v tomto týdnu začaly stoupat a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. Lůžka jsou, ale stále obsazena post COVID pacienty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4605541"/>
              </p:ext>
            </p:extLst>
          </p:nvPr>
        </p:nvGraphicFramePr>
        <p:xfrm>
          <a:off x="332646" y="832094"/>
          <a:ext cx="11405086" cy="4634831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5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a 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mocnice na Bulovce hlásí kapacitní problémy na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je nadále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Onkologická aj. neodkladná operativa běží bez omez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se ale pozvolna zlepšuje, alespoň z pohledu standardních oddělení, maximalizovány kapacity standardní i intenzivní péče, rezerva lůžek zůstává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iziková je nadále intenzivní péče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562845"/>
              </p:ext>
            </p:extLst>
          </p:nvPr>
        </p:nvGraphicFramePr>
        <p:xfrm>
          <a:off x="279292" y="841021"/>
          <a:ext cx="11587543" cy="5025388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1889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 ve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éči vzhledem k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Omezená možnost překladů již neinfekčních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.</a:t>
                      </a: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péči. 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3372</TotalTime>
  <Words>2009</Words>
  <Application>Microsoft Office PowerPoint</Application>
  <PresentationFormat>Širokoúhlá obrazovka</PresentationFormat>
  <Paragraphs>556</Paragraphs>
  <Slides>11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8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 - aktualizace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ilan Havránek</cp:lastModifiedBy>
  <cp:revision>1757</cp:revision>
  <cp:lastPrinted>2020-10-20T04:21:56Z</cp:lastPrinted>
  <dcterms:created xsi:type="dcterms:W3CDTF">2020-07-15T10:33:32Z</dcterms:created>
  <dcterms:modified xsi:type="dcterms:W3CDTF">2021-12-20T11:39:38Z</dcterms:modified>
</cp:coreProperties>
</file>